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sldIdLst>
    <p:sldId id="258" r:id="rId2"/>
    <p:sldId id="4519" r:id="rId3"/>
    <p:sldId id="4520" r:id="rId4"/>
    <p:sldId id="4521" r:id="rId5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31" d="100"/>
          <a:sy n="31" d="100"/>
        </p:scale>
        <p:origin x="832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5278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hape 67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Shape 68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lIns="93162" tIns="93162" rIns="93162" bIns="9316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9816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hape 67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8" name="Shape 68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lIns="93162" tIns="93162" rIns="93162" bIns="9316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0314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foto alterna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azón con tortas de salmón, ensalada y hummus"/>
          <p:cNvSpPr>
            <a:spLocks noGrp="1"/>
          </p:cNvSpPr>
          <p:nvPr>
            <p:ph type="pic" idx="21"/>
          </p:nvPr>
        </p:nvSpPr>
        <p:spPr>
          <a:xfrm>
            <a:off x="10972800" y="-203200"/>
            <a:ext cx="12144837" cy="141351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Título de diapositiva"/>
          <p:cNvSpPr txBox="1">
            <a:spLocks noGrp="1"/>
          </p:cNvSpPr>
          <p:nvPr>
            <p:ph type="title" hasCustomPrompt="1"/>
          </p:nvPr>
        </p:nvSpPr>
        <p:spPr>
          <a:xfrm>
            <a:off x="1206500" y="1270000"/>
            <a:ext cx="9779000" cy="5882273"/>
          </a:xfrm>
          <a:prstGeom prst="rect">
            <a:avLst/>
          </a:prstGeom>
        </p:spPr>
        <p:txBody>
          <a:bodyPr anchor="b"/>
          <a:lstStyle/>
          <a:p>
            <a:r>
              <a:t>Título de diapositiva</a:t>
            </a:r>
          </a:p>
        </p:txBody>
      </p:sp>
      <p:sp>
        <p:nvSpPr>
          <p:cNvPr id="34" name="Nivel de texto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7060576"/>
            <a:ext cx="9779000" cy="5385424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Subtítulo de diapositiv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ribució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2430025" y="10675453"/>
            <a:ext cx="20200052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tribución</a:t>
            </a:r>
          </a:p>
        </p:txBody>
      </p:sp>
      <p:sp>
        <p:nvSpPr>
          <p:cNvPr id="116" name="Nivel de texto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753923" y="4939860"/>
            <a:ext cx="20876154" cy="3836280"/>
          </a:xfrm>
          <a:prstGeom prst="rect">
            <a:avLst/>
          </a:prstGeom>
        </p:spPr>
        <p:txBody>
          <a:bodyPr/>
          <a:lstStyle>
            <a:lvl1pPr marL="638923" indent="-469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638923" indent="-12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638923" indent="4445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638923" indent="9017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638923" indent="1358900">
              <a:spcBef>
                <a:spcPts val="0"/>
              </a:spcBef>
              <a:buSzTx/>
              <a:buNone/>
              <a:defRPr sz="8500" spc="-17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“Frase celebre”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to de ensalada con arroz frito, huevos duros y palillos"/>
          <p:cNvSpPr>
            <a:spLocks noGrp="1"/>
          </p:cNvSpPr>
          <p:nvPr>
            <p:ph type="pic" sz="quarter" idx="21"/>
          </p:nvPr>
        </p:nvSpPr>
        <p:spPr>
          <a:xfrm>
            <a:off x="15760700" y="1016000"/>
            <a:ext cx="7439099" cy="59496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5" name="Tazón con tortas de salmón, ensalada y hummus "/>
          <p:cNvSpPr>
            <a:spLocks noGrp="1"/>
          </p:cNvSpPr>
          <p:nvPr>
            <p:ph type="pic" sz="half" idx="22"/>
          </p:nvPr>
        </p:nvSpPr>
        <p:spPr>
          <a:xfrm>
            <a:off x="13500100" y="3978275"/>
            <a:ext cx="10439400" cy="121501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6" name="Plato de pasta pappardelle con mantequilla de perejil, avellanas tostadas y queso parmesano rallado"/>
          <p:cNvSpPr>
            <a:spLocks noGrp="1"/>
          </p:cNvSpPr>
          <p:nvPr>
            <p:ph type="pic" idx="23"/>
          </p:nvPr>
        </p:nvSpPr>
        <p:spPr>
          <a:xfrm>
            <a:off x="-139700" y="495300"/>
            <a:ext cx="16611600" cy="124587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azón de ensalada con arroz frito, huevos cocidos y palillos"/>
          <p:cNvSpPr>
            <a:spLocks noGrp="1"/>
          </p:cNvSpPr>
          <p:nvPr>
            <p:ph type="pic" idx="21"/>
          </p:nvPr>
        </p:nvSpPr>
        <p:spPr>
          <a:xfrm>
            <a:off x="-1333500" y="-5524500"/>
            <a:ext cx="27051000" cy="21640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E951426-A098-3E92-6FBD-5515179D81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831222" y="1985534"/>
            <a:ext cx="22721600" cy="5473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3866">
                <a:solidFill>
                  <a:schemeClr val="bg1"/>
                </a:solidFill>
              </a:defRPr>
            </a:lvl1pPr>
            <a:lvl2pPr lvl="1" algn="ctr">
              <a:spcBef>
                <a:spcPts val="0"/>
              </a:spcBef>
              <a:buSzPct val="100000"/>
              <a:defRPr sz="13866"/>
            </a:lvl2pPr>
            <a:lvl3pPr lvl="2" algn="ctr">
              <a:spcBef>
                <a:spcPts val="0"/>
              </a:spcBef>
              <a:buSzPct val="100000"/>
              <a:defRPr sz="13866"/>
            </a:lvl3pPr>
            <a:lvl4pPr lvl="3" algn="ctr">
              <a:spcBef>
                <a:spcPts val="0"/>
              </a:spcBef>
              <a:buSzPct val="100000"/>
              <a:defRPr sz="13866"/>
            </a:lvl4pPr>
            <a:lvl5pPr lvl="4" algn="ctr">
              <a:spcBef>
                <a:spcPts val="0"/>
              </a:spcBef>
              <a:buSzPct val="100000"/>
              <a:defRPr sz="13866"/>
            </a:lvl5pPr>
            <a:lvl6pPr lvl="5" algn="ctr">
              <a:spcBef>
                <a:spcPts val="0"/>
              </a:spcBef>
              <a:buSzPct val="100000"/>
              <a:defRPr sz="13866"/>
            </a:lvl6pPr>
            <a:lvl7pPr lvl="6" algn="ctr">
              <a:spcBef>
                <a:spcPts val="0"/>
              </a:spcBef>
              <a:buSzPct val="100000"/>
              <a:defRPr sz="13866"/>
            </a:lvl7pPr>
            <a:lvl8pPr lvl="7" algn="ctr">
              <a:spcBef>
                <a:spcPts val="0"/>
              </a:spcBef>
              <a:buSzPct val="100000"/>
              <a:defRPr sz="13866"/>
            </a:lvl8pPr>
            <a:lvl9pPr lvl="8" algn="ctr">
              <a:spcBef>
                <a:spcPts val="0"/>
              </a:spcBef>
              <a:buSzPct val="100000"/>
              <a:defRPr sz="13866"/>
            </a:lvl9pPr>
          </a:lstStyle>
          <a:p>
            <a:endParaRPr dirty="0"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831200" y="7557666"/>
            <a:ext cx="22721600" cy="211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>
                <a:solidFill>
                  <a:schemeClr val="bg1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7466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1167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>
            <a:extLst>
              <a:ext uri="{FF2B5EF4-FFF2-40B4-BE49-F238E27FC236}">
                <a16:creationId xmlns:a16="http://schemas.microsoft.com/office/drawing/2014/main" id="{E8606BDD-A012-E805-4E5F-D6C40F8D2A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" b="786"/>
          <a:stretch/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A6093BEF-6DFD-4CCD-C59B-5964542BA1B0}"/>
              </a:ext>
            </a:extLst>
          </p:cNvPr>
          <p:cNvSpPr/>
          <p:nvPr userDrawn="1"/>
        </p:nvSpPr>
        <p:spPr>
          <a:xfrm>
            <a:off x="23710604" y="373544"/>
            <a:ext cx="673396" cy="482620"/>
          </a:xfrm>
          <a:prstGeom prst="rect">
            <a:avLst/>
          </a:prstGeom>
          <a:solidFill>
            <a:srgbClr val="E414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S" sz="4800" dirty="0"/>
          </a:p>
        </p:txBody>
      </p:sp>
      <p:sp>
        <p:nvSpPr>
          <p:cNvPr id="5" name="Shape 21">
            <a:extLst>
              <a:ext uri="{FF2B5EF4-FFF2-40B4-BE49-F238E27FC236}">
                <a16:creationId xmlns:a16="http://schemas.microsoft.com/office/drawing/2014/main" id="{FC2930DA-5525-5589-4E67-095A41A97D1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1200" y="1186734"/>
            <a:ext cx="22721600" cy="1527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>
                <a:solidFill>
                  <a:srgbClr val="E41421"/>
                </a:solidFill>
              </a:defRPr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BF94EF5-8F7E-CA52-140C-9BE7BAEF68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23306" y="277575"/>
            <a:ext cx="4095488" cy="552378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C245876-8986-424D-BA70-34F14998BEB5}"/>
              </a:ext>
            </a:extLst>
          </p:cNvPr>
          <p:cNvSpPr/>
          <p:nvPr userDrawn="1"/>
        </p:nvSpPr>
        <p:spPr>
          <a:xfrm>
            <a:off x="-37487" y="13148835"/>
            <a:ext cx="24458978" cy="567166"/>
          </a:xfrm>
          <a:prstGeom prst="rect">
            <a:avLst/>
          </a:prstGeom>
          <a:solidFill>
            <a:srgbClr val="E414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S" sz="480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6F8EF8B-D43B-064B-8548-BDFCF8292A8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3308" y="13224578"/>
            <a:ext cx="4680000" cy="41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11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ítulo de diapositiva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ítulo de diapositiva</a:t>
            </a:r>
          </a:p>
        </p:txBody>
      </p:sp>
      <p:sp>
        <p:nvSpPr>
          <p:cNvPr id="43" name="Subtítulo de diapositiva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ubtítulo de diapositiva</a:t>
            </a:r>
          </a:p>
        </p:txBody>
      </p:sp>
      <p:sp>
        <p:nvSpPr>
          <p:cNvPr id="44" name="Nivel de texto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en viñeta de diapositiv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Nivel de texto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Texto en viñeta de diapositiv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, viñetas y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ubtítulo de diapositiva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9779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ubtítulo de diapositiva</a:t>
            </a:r>
          </a:p>
        </p:txBody>
      </p:sp>
      <p:sp>
        <p:nvSpPr>
          <p:cNvPr id="61" name="Nivel de texto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248504"/>
            <a:ext cx="9779000" cy="8256630"/>
          </a:xfrm>
          <a:prstGeom prst="rect">
            <a:avLst/>
          </a:prstGeom>
        </p:spPr>
        <p:txBody>
          <a:bodyPr/>
          <a:lstStyle/>
          <a:p>
            <a:r>
              <a:t>Texto en viñeta de diapositiv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Plato de pasta pappardelle con mantequilla de perejil, avellanas tostadas y queso parmesano rallado"/>
          <p:cNvSpPr>
            <a:spLocks noGrp="1"/>
          </p:cNvSpPr>
          <p:nvPr>
            <p:ph type="pic" idx="22"/>
          </p:nvPr>
        </p:nvSpPr>
        <p:spPr>
          <a:xfrm>
            <a:off x="12192000" y="-407266"/>
            <a:ext cx="10916874" cy="145558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" name="Título de diapositiva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9779000" cy="1435100"/>
          </a:xfrm>
          <a:prstGeom prst="rect">
            <a:avLst/>
          </a:prstGeom>
        </p:spPr>
        <p:txBody>
          <a:bodyPr/>
          <a:lstStyle/>
          <a:p>
            <a:r>
              <a:t>Título de diapositiva</a:t>
            </a:r>
          </a:p>
        </p:txBody>
      </p:sp>
      <p:sp>
        <p:nvSpPr>
          <p:cNvPr id="64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ítulo de sección"/>
          <p:cNvSpPr txBox="1">
            <a:spLocks noGrp="1"/>
          </p:cNvSpPr>
          <p:nvPr>
            <p:ph type="title" hasCustomPrompt="1"/>
          </p:nvPr>
        </p:nvSpPr>
        <p:spPr>
          <a:xfrm>
            <a:off x="1206496" y="4533900"/>
            <a:ext cx="21971004" cy="4648200"/>
          </a:xfrm>
          <a:prstGeom prst="rect">
            <a:avLst/>
          </a:prstGeom>
        </p:spPr>
        <p:txBody>
          <a:bodyPr anchor="ctr"/>
          <a:lstStyle>
            <a:lvl1pPr>
              <a:defRPr sz="11600" b="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Título de sección</a:t>
            </a:r>
          </a:p>
        </p:txBody>
      </p:sp>
      <p:sp>
        <p:nvSpPr>
          <p:cNvPr id="72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5233"/>
            <a:ext cx="368505" cy="3746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ítulo de diapositiva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4949"/>
          </a:xfrm>
          <a:prstGeom prst="rect">
            <a:avLst/>
          </a:prstGeom>
        </p:spPr>
        <p:txBody>
          <a:bodyPr/>
          <a:lstStyle/>
          <a:p>
            <a:r>
              <a:t>Título de diapositiva</a:t>
            </a:r>
          </a:p>
        </p:txBody>
      </p:sp>
      <p:sp>
        <p:nvSpPr>
          <p:cNvPr id="80" name="Subtítulo de diapositiva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ubtítulo de diapositiva</a:t>
            </a:r>
          </a:p>
        </p:txBody>
      </p:sp>
      <p:sp>
        <p:nvSpPr>
          <p:cNvPr id="81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Título de agenda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5100"/>
          </a:xfrm>
          <a:prstGeom prst="rect">
            <a:avLst/>
          </a:prstGeom>
        </p:spPr>
        <p:txBody>
          <a:bodyPr/>
          <a:lstStyle/>
          <a:p>
            <a:r>
              <a:t>Título de agenda</a:t>
            </a:r>
          </a:p>
        </p:txBody>
      </p:sp>
      <p:sp>
        <p:nvSpPr>
          <p:cNvPr id="89" name="Subtítulo de agenda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ubtítulo de agenda</a:t>
            </a:r>
          </a:p>
        </p:txBody>
      </p:sp>
      <p:sp>
        <p:nvSpPr>
          <p:cNvPr id="90" name="Nivel de texto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1pPr>
            <a:lvl2pPr marL="0" indent="4572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2pPr>
            <a:lvl3pPr marL="0" indent="9144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3pPr>
            <a:lvl4pPr marL="0" indent="13716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4pPr>
            <a:lvl5pPr marL="0" indent="18288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5pPr>
          </a:lstStyle>
          <a:p>
            <a:r>
              <a:t>Temas de agend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1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cl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Nivel de texto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920843"/>
            <a:ext cx="21971000" cy="387431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11600" spc="-23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Declaració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ato (gran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Nivel de texto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1075927"/>
            <a:ext cx="21971000" cy="7241584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Información del dato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8262180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Información del dato</a:t>
            </a:r>
          </a:p>
        </p:txBody>
      </p:sp>
      <p:sp>
        <p:nvSpPr>
          <p:cNvPr id="108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de diapositiva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ítulo de diapositiva</a:t>
            </a:r>
          </a:p>
        </p:txBody>
      </p:sp>
      <p:sp>
        <p:nvSpPr>
          <p:cNvPr id="3" name="Nivel de texto 1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Texto en viñeta de diapositiv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01499" y="13080999"/>
            <a:ext cx="368505" cy="3746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200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</p:sldLayoutIdLst>
  <p:transition spd="med"/>
  <p:txStyles>
    <p:titleStyle>
      <a:lvl1pPr marL="0" marR="0" indent="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609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1219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1828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2438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30480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3657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4267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4876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5486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2286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2743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3200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3657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1341324" y="2018585"/>
            <a:ext cx="18432160" cy="427814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s-ES" sz="13200" b="1" dirty="0">
                <a:solidFill>
                  <a:schemeClr val="bg1"/>
                </a:solidFill>
                <a:latin typeface="Overpass Black" pitchFamily="2" charset="77"/>
                <a:cs typeface="Calibri" panose="020F0502020204030204" pitchFamily="34" charset="0"/>
              </a:rPr>
              <a:t>Medición de la</a:t>
            </a:r>
          </a:p>
          <a:p>
            <a:r>
              <a:rPr lang="es-ES" sz="13200" b="1" dirty="0">
                <a:solidFill>
                  <a:schemeClr val="bg1"/>
                </a:solidFill>
                <a:latin typeface="Overpass Black" pitchFamily="2" charset="77"/>
                <a:cs typeface="Calibri" panose="020F0502020204030204" pitchFamily="34" charset="0"/>
              </a:rPr>
              <a:t>Huella de Carbono</a:t>
            </a:r>
            <a:endParaRPr lang="es-ES_tradnl" sz="7200" b="1" dirty="0">
              <a:solidFill>
                <a:schemeClr val="bg1"/>
              </a:solidFill>
              <a:latin typeface="Overpass Black" pitchFamily="2" charset="77"/>
              <a:cs typeface="Calibri" panose="020F0502020204030204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341325" y="6043806"/>
            <a:ext cx="2688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7200" b="1" dirty="0">
                <a:solidFill>
                  <a:schemeClr val="bg1"/>
                </a:solidFill>
                <a:latin typeface="Overpass"/>
                <a:cs typeface="Calibri" panose="020F0502020204030204" pitchFamily="34" charset="0"/>
              </a:rPr>
              <a:t>2023</a:t>
            </a:r>
          </a:p>
        </p:txBody>
      </p:sp>
      <p:pic>
        <p:nvPicPr>
          <p:cNvPr id="6" name="Imagen 5" descr="Imagen que contiene tabla, pequeño, llenado, tren&#10;&#10;Descripción generada automáticamente">
            <a:extLst>
              <a:ext uri="{FF2B5EF4-FFF2-40B4-BE49-F238E27FC236}">
                <a16:creationId xmlns:a16="http://schemas.microsoft.com/office/drawing/2014/main" id="{2631DADC-20DA-16AE-E753-DD55AD5395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7" r="-1"/>
          <a:stretch/>
        </p:blipFill>
        <p:spPr>
          <a:xfrm>
            <a:off x="15950153" y="0"/>
            <a:ext cx="8433846" cy="1371600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F893AD2-30F1-594F-829C-2ECA6FD074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948" y="10892063"/>
            <a:ext cx="6097488" cy="274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184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236" y="4236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9" name="8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236" y="4236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9" name="Tabla 1-1">
            <a:extLst>
              <a:ext uri="{FF2B5EF4-FFF2-40B4-BE49-F238E27FC236}">
                <a16:creationId xmlns:a16="http://schemas.microsoft.com/office/drawing/2014/main" id="{ABB272A5-EE6E-4016-8EE1-9BD8FB1036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1998623"/>
              </p:ext>
            </p:extLst>
          </p:nvPr>
        </p:nvGraphicFramePr>
        <p:xfrm>
          <a:off x="2348346" y="2306782"/>
          <a:ext cx="20075237" cy="8969939"/>
        </p:xfrm>
        <a:graphic>
          <a:graphicData uri="http://schemas.openxmlformats.org/drawingml/2006/table">
            <a:tbl>
              <a:tblPr>
                <a:tableStyleId>{4C3C2611-4C71-4FC5-86AE-919BDF0F9419}</a:tableStyleId>
              </a:tblPr>
              <a:tblGrid>
                <a:gridCol w="25237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3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87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62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139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139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139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811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632014">
                <a:tc>
                  <a:txBody>
                    <a:bodyPr/>
                    <a:lstStyle/>
                    <a:p>
                      <a:pPr defTabSz="914400">
                        <a:lnSpc>
                          <a:spcPct val="90000"/>
                        </a:lnSpc>
                        <a:tabLst>
                          <a:tab pos="2146300" algn="l"/>
                        </a:tabLst>
                      </a:pP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Nombre</a:t>
                      </a:r>
                      <a:endParaRPr sz="2000" b="1" dirty="0">
                        <a:solidFill>
                          <a:srgbClr val="3E3E3E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/>
                        <a:ea typeface="Segoe UI"/>
                        <a:cs typeface="Segoe UI"/>
                        <a:sym typeface="Segoe UI"/>
                      </a:endParaRP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defTabSz="914400">
                        <a:defRPr sz="1500"/>
                      </a:pP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1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1500"/>
                      </a:pP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2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1500"/>
                      </a:pP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3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defTabSz="914400">
                        <a:defRPr sz="1500"/>
                      </a:pP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Variación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</a:t>
                      </a: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respecto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al </a:t>
                      </a:r>
                      <a:r>
                        <a:rPr sz="20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20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2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7585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 err="1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</a:t>
                      </a:r>
                      <a:endParaRPr sz="2000" dirty="0">
                        <a:solidFill>
                          <a:srgbClr val="3E3E3E"/>
                        </a:solidFill>
                        <a:latin typeface="Segoe UI"/>
                        <a:ea typeface="Segoe UI"/>
                        <a:cs typeface="Segoe UI"/>
                        <a:sym typeface="Segoe UI"/>
                      </a:endParaRP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7585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1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3.72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62,6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7.69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0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3.36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7,4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73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67585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2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.63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2,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.921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2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926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,2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-51.8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7585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3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.56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5,4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.550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36,6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62.565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81,4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27,3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67585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tal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1.93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5.168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76.85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2000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406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DA64BB93-EF6B-49F8-9456-C5A24E30D76D}"/>
              </a:ext>
            </a:extLst>
          </p:cNvPr>
          <p:cNvSpPr/>
          <p:nvPr/>
        </p:nvSpPr>
        <p:spPr>
          <a:xfrm>
            <a:off x="6096000" y="1163920"/>
            <a:ext cx="1219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L" b="1" dirty="0">
                <a:solidFill>
                  <a:srgbClr val="000000"/>
                </a:solidFill>
                <a:latin typeface="Calibri" panose="020F0502020204030204" pitchFamily="34" charset="0"/>
              </a:rPr>
              <a:t>Por esta ampliación del límite operacional es que vemos un aumento de las emisiones en comparación al año 2022. </a:t>
            </a:r>
            <a:endParaRPr lang="es-CL" b="1" dirty="0"/>
          </a:p>
        </p:txBody>
      </p:sp>
    </p:spTree>
    <p:extLst>
      <p:ext uri="{BB962C8B-B14F-4D97-AF65-F5344CB8AC3E}">
        <p14:creationId xmlns:p14="http://schemas.microsoft.com/office/powerpoint/2010/main" val="2359929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236" y="4236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9" name="8 Objeto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236" y="4236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a 1-1-1">
            <a:extLst>
              <a:ext uri="{FF2B5EF4-FFF2-40B4-BE49-F238E27FC236}">
                <a16:creationId xmlns:a16="http://schemas.microsoft.com/office/drawing/2014/main" id="{04B8F386-8882-47BE-B5E4-A441D772F2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8280076"/>
              </p:ext>
            </p:extLst>
          </p:nvPr>
        </p:nvGraphicFramePr>
        <p:xfrm>
          <a:off x="2360476" y="2096397"/>
          <a:ext cx="19663048" cy="9523206"/>
        </p:xfrm>
        <a:graphic>
          <a:graphicData uri="http://schemas.openxmlformats.org/drawingml/2006/table">
            <a:tbl>
              <a:tblPr>
                <a:tableStyleId>{4C3C2611-4C71-4FC5-86AE-919BDF0F9419}</a:tableStyleId>
              </a:tblPr>
              <a:tblGrid>
                <a:gridCol w="2471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0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5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58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582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582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65826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72400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732676">
                <a:tc>
                  <a:txBody>
                    <a:bodyPr/>
                    <a:lstStyle/>
                    <a:p>
                      <a:pPr defTabSz="914400">
                        <a:lnSpc>
                          <a:spcPct val="90000"/>
                        </a:lnSpc>
                        <a:tabLst>
                          <a:tab pos="2146300" algn="l"/>
                        </a:tabLst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Nombre</a:t>
                      </a:r>
                      <a:endParaRPr sz="1800" b="1" dirty="0">
                        <a:solidFill>
                          <a:srgbClr val="3E3E3E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 UI"/>
                        <a:ea typeface="Segoe UI"/>
                        <a:cs typeface="Segoe UI"/>
                        <a:sym typeface="Segoe UI"/>
                      </a:endParaRP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D5D5D5"/>
                    </a:solidFill>
                  </a:tcPr>
                </a:tc>
                <a:tc gridSpan="2">
                  <a:txBody>
                    <a:bodyPr/>
                    <a:lstStyle/>
                    <a:p>
                      <a:pPr defTabSz="914400">
                        <a:defRPr sz="1400"/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1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D5D5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1400"/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2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D5D5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defTabSz="914400">
                        <a:defRPr sz="1400"/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3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D5D5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defTabSz="914400">
                        <a:defRPr sz="1400"/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Variación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</a:t>
                      </a: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respecto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al </a:t>
                      </a:r>
                      <a:r>
                        <a:rPr sz="1800" b="1" dirty="0" err="1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ño</a:t>
                      </a:r>
                      <a:r>
                        <a:rPr sz="1800" b="1" dirty="0">
                          <a:solidFill>
                            <a:srgbClr val="3E3E3E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 2022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12700">
                      <a:solidFill>
                        <a:srgbClr val="E64E44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D5D5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8106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1800" b="1" dirty="0" err="1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</a:t>
                      </a:r>
                      <a:endParaRPr sz="1800" b="1" dirty="0">
                        <a:solidFill>
                          <a:srgbClr val="3E3E3E"/>
                        </a:solidFill>
                        <a:latin typeface="Segoe UI"/>
                        <a:ea typeface="Segoe UI"/>
                        <a:cs typeface="Segoe UI"/>
                        <a:sym typeface="Segoe UI"/>
                      </a:endParaRP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n  CO2 eq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8106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1800" b="1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1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3.72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62,6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7.69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0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4.83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72,8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-37,1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58106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1800" b="1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2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.63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2,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.921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2,7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926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3,9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-51.8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58106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1800" b="1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Alcance3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.569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5,4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5.550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36,6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881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3,3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-84,1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58106"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sz="1800" b="1"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Total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E64E44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21.937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5.168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6.646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100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>
                        <a:lnSpc>
                          <a:spcPct val="80000"/>
                        </a:lnSpc>
                        <a:tabLst>
                          <a:tab pos="2146300" algn="l"/>
                        </a:tabLst>
                      </a:pPr>
                      <a:r>
                        <a:rPr dirty="0">
                          <a:solidFill>
                            <a:srgbClr val="3E3E3E"/>
                          </a:solidFill>
                          <a:latin typeface="Segoe UI"/>
                          <a:ea typeface="Segoe UI"/>
                          <a:cs typeface="Segoe UI"/>
                          <a:sym typeface="Segoe UI"/>
                        </a:rPr>
                        <a:t>-56,2 %</a:t>
                      </a:r>
                    </a:p>
                  </a:txBody>
                  <a:tcPr marL="50800" marR="50800" marT="50800" marB="5080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12700">
                      <a:solidFill>
                        <a:srgbClr val="E64E44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12700">
                      <a:solidFill>
                        <a:srgbClr val="E64E44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E4B56934-E2AD-4974-B418-CB6513F1B51B}"/>
              </a:ext>
            </a:extLst>
          </p:cNvPr>
          <p:cNvSpPr/>
          <p:nvPr/>
        </p:nvSpPr>
        <p:spPr>
          <a:xfrm>
            <a:off x="6096000" y="1039229"/>
            <a:ext cx="1219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L" b="1" dirty="0">
                <a:solidFill>
                  <a:srgbClr val="000000"/>
                </a:solidFill>
                <a:latin typeface="Calibri" panose="020F0502020204030204" pitchFamily="34" charset="0"/>
              </a:rPr>
              <a:t>Sin embargo, es importante destacar que, si comparamos las emisiones considerando los mismos límites operacionales, las emisiones disminuyeron. </a:t>
            </a:r>
            <a:endParaRPr lang="es-CL" b="1" dirty="0"/>
          </a:p>
        </p:txBody>
      </p:sp>
    </p:spTree>
    <p:extLst>
      <p:ext uri="{BB962C8B-B14F-4D97-AF65-F5344CB8AC3E}">
        <p14:creationId xmlns:p14="http://schemas.microsoft.com/office/powerpoint/2010/main" val="2870276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E6A04F68-777B-4B75-BD37-09BD7E4464B6}"/>
              </a:ext>
            </a:extLst>
          </p:cNvPr>
          <p:cNvSpPr/>
          <p:nvPr/>
        </p:nvSpPr>
        <p:spPr>
          <a:xfrm>
            <a:off x="6096000" y="5140359"/>
            <a:ext cx="12192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L" sz="3200" b="1" dirty="0">
                <a:solidFill>
                  <a:srgbClr val="000000"/>
                </a:solidFill>
                <a:latin typeface="Calibri" panose="020F0502020204030204" pitchFamily="34" charset="0"/>
              </a:rPr>
              <a:t>Nota: </a:t>
            </a:r>
            <a:r>
              <a:rPr lang="es-CL" sz="3200" dirty="0">
                <a:solidFill>
                  <a:srgbClr val="000000"/>
                </a:solidFill>
                <a:latin typeface="Calibri" panose="020F0502020204030204" pitchFamily="34" charset="0"/>
              </a:rPr>
              <a:t>el límite operacional de esta tabla abarca emisiones directas por transporte terrestre, emisiones indirectas por electricidad importada y emisiones indirectas por transporte aéreo de envíos. Dichas cifras, nos permiten evidenciar que las medidas adoptadas durante el periodo, han tenido buenos resultados, reduciendo nuestro impacto y nos invita a seguir avanzando en los proyectos estratégicos de la Empresa. </a:t>
            </a:r>
            <a:endParaRPr lang="es-CL" sz="3200" dirty="0"/>
          </a:p>
        </p:txBody>
      </p:sp>
    </p:spTree>
    <p:extLst>
      <p:ext uri="{BB962C8B-B14F-4D97-AF65-F5344CB8AC3E}">
        <p14:creationId xmlns:p14="http://schemas.microsoft.com/office/powerpoint/2010/main" val="35226281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04</Words>
  <Application>Microsoft Office PowerPoint</Application>
  <PresentationFormat>Personalizado</PresentationFormat>
  <Paragraphs>94</Paragraphs>
  <Slides>4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3" baseType="lpstr">
      <vt:lpstr>Arial</vt:lpstr>
      <vt:lpstr>Calibri</vt:lpstr>
      <vt:lpstr>Helvetica Neue</vt:lpstr>
      <vt:lpstr>Helvetica Neue Medium</vt:lpstr>
      <vt:lpstr>Overpass</vt:lpstr>
      <vt:lpstr>Overpass Black</vt:lpstr>
      <vt:lpstr>Segoe UI</vt:lpstr>
      <vt:lpstr>21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rge Hernan Alegre Ramos</dc:creator>
  <cp:lastModifiedBy>Jorge Hernan Alegre Ramos</cp:lastModifiedBy>
  <cp:revision>2</cp:revision>
  <dcterms:modified xsi:type="dcterms:W3CDTF">2024-07-09T21:12:33Z</dcterms:modified>
</cp:coreProperties>
</file>